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4" r:id="rId2"/>
  </p:sldIdLst>
  <p:sldSz cx="11949113" cy="6721475"/>
  <p:notesSz cx="7315200" cy="96012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1C2C"/>
    <a:srgbClr val="0563BB"/>
    <a:srgbClr val="0354B0"/>
    <a:srgbClr val="0049A6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6814" autoAdjust="0"/>
  </p:normalViewPr>
  <p:slideViewPr>
    <p:cSldViewPr snapToGrid="0" snapToObjects="1">
      <p:cViewPr varScale="1">
        <p:scale>
          <a:sx n="85" d="100"/>
          <a:sy n="85" d="100"/>
        </p:scale>
        <p:origin x="288" y="58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65150" y="515938"/>
            <a:ext cx="6237288" cy="35083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8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2" y="9227280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2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06.05.2019 19:43 Russia TZ 2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>
                <a:solidFill>
                  <a:schemeClr val="bg1"/>
                </a:solidFill>
                <a:latin typeface="+mn-lt"/>
              </a:rPr>
              <a:t>Any use of this material without specific permission is strictly prohibited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32458" y="1940592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06.05.2019 19:43 Russia TZ 2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B2AB9-5DAC-4722-B788-34A2B42021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68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3" name="Group 72">
            <a:extLst>
              <a:ext uri="{FF2B5EF4-FFF2-40B4-BE49-F238E27FC236}">
                <a16:creationId xmlns:a16="http://schemas.microsoft.com/office/drawing/2014/main" id="{65A0F4E6-3D35-490E-8EF3-B67A52448467}"/>
              </a:ext>
            </a:extLst>
          </p:cNvPr>
          <p:cNvGrpSpPr/>
          <p:nvPr/>
        </p:nvGrpSpPr>
        <p:grpSpPr>
          <a:xfrm>
            <a:off x="2507304" y="1944710"/>
            <a:ext cx="7264004" cy="2655194"/>
            <a:chOff x="1766769" y="2000519"/>
            <a:chExt cx="7264004" cy="2655194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2A9086E1-3965-44B3-B2F6-D97A3A0ECB7E}"/>
                </a:ext>
              </a:extLst>
            </p:cNvPr>
            <p:cNvSpPr/>
            <p:nvPr/>
          </p:nvSpPr>
          <p:spPr>
            <a:xfrm>
              <a:off x="4546243" y="2000519"/>
              <a:ext cx="2459865" cy="804929"/>
            </a:xfrm>
            <a:prstGeom prst="round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chemeClr val="tx1"/>
                  </a:solidFill>
                </a:rPr>
                <a:t>Агент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9E054273-46EA-4292-AF10-B1AF8A7015EA}"/>
                </a:ext>
              </a:extLst>
            </p:cNvPr>
            <p:cNvSpPr/>
            <p:nvPr/>
          </p:nvSpPr>
          <p:spPr>
            <a:xfrm>
              <a:off x="4546243" y="3794975"/>
              <a:ext cx="2459865" cy="804929"/>
            </a:xfrm>
            <a:prstGeom prst="round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chemeClr val="tx1"/>
                  </a:solidFill>
                </a:rPr>
                <a:t>Среда</a:t>
              </a: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FD86D192-0980-4572-B2B1-060020D0F7EC}"/>
                </a:ext>
              </a:extLst>
            </p:cNvPr>
            <p:cNvCxnSpPr>
              <a:cxnSpLocks/>
            </p:cNvCxnSpPr>
            <p:nvPr/>
          </p:nvCxnSpPr>
          <p:spPr>
            <a:xfrm>
              <a:off x="7006108" y="2402984"/>
              <a:ext cx="12700" cy="1794456"/>
            </a:xfrm>
            <a:prstGeom prst="bentConnector3">
              <a:avLst>
                <a:gd name="adj1" fmla="val 5247882"/>
              </a:avLst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AA0C8DE-BB05-4150-833E-50040FDE67C0}"/>
                </a:ext>
              </a:extLst>
            </p:cNvPr>
            <p:cNvSpPr txBox="1"/>
            <p:nvPr/>
          </p:nvSpPr>
          <p:spPr>
            <a:xfrm>
              <a:off x="7966075" y="2805448"/>
              <a:ext cx="1064698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ru-RU" dirty="0"/>
                <a:t>Действие</a:t>
              </a:r>
            </a:p>
            <a:p>
              <a:r>
                <a:rPr lang="en-US" i="1" dirty="0"/>
                <a:t>A</a:t>
              </a:r>
              <a:r>
                <a:rPr lang="en-US" i="1" baseline="-25000" dirty="0"/>
                <a:t>t</a:t>
              </a:r>
              <a:endParaRPr lang="ru-RU" i="1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16C4A4E2-52D2-4E39-AF2F-F93E8A1C8589}"/>
                </a:ext>
              </a:extLst>
            </p:cNvPr>
            <p:cNvCxnSpPr/>
            <p:nvPr/>
          </p:nvCxnSpPr>
          <p:spPr>
            <a:xfrm flipH="1">
              <a:off x="3870101" y="4449651"/>
              <a:ext cx="676142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B470B81C-EF2D-4E66-905A-0BA667E252CA}"/>
                </a:ext>
              </a:extLst>
            </p:cNvPr>
            <p:cNvCxnSpPr/>
            <p:nvPr/>
          </p:nvCxnSpPr>
          <p:spPr>
            <a:xfrm flipH="1">
              <a:off x="3870101" y="4009623"/>
              <a:ext cx="67614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D98A067-9BC1-46AD-A7B6-D9CC74394F2A}"/>
                </a:ext>
              </a:extLst>
            </p:cNvPr>
            <p:cNvCxnSpPr>
              <a:cxnSpLocks/>
            </p:cNvCxnSpPr>
            <p:nvPr/>
          </p:nvCxnSpPr>
          <p:spPr>
            <a:xfrm>
              <a:off x="3870101" y="3794975"/>
              <a:ext cx="0" cy="860738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53134C4-20A1-404E-B6F7-C02684B82DC6}"/>
                </a:ext>
              </a:extLst>
            </p:cNvPr>
            <p:cNvSpPr/>
            <p:nvPr/>
          </p:nvSpPr>
          <p:spPr>
            <a:xfrm>
              <a:off x="3870101" y="3620333"/>
              <a:ext cx="52610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i="1" dirty="0"/>
                <a:t>R</a:t>
              </a:r>
              <a:r>
                <a:rPr lang="en-US" i="1" baseline="-25000" dirty="0"/>
                <a:t>t+1</a:t>
              </a:r>
              <a:endParaRPr lang="ru-RU" i="1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B6F1FED-ECA1-41F9-9E38-1F829F84316B}"/>
                </a:ext>
              </a:extLst>
            </p:cNvPr>
            <p:cNvSpPr/>
            <p:nvPr/>
          </p:nvSpPr>
          <p:spPr>
            <a:xfrm>
              <a:off x="3870101" y="4060360"/>
              <a:ext cx="52610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i="1" dirty="0"/>
                <a:t>S</a:t>
              </a:r>
              <a:r>
                <a:rPr lang="en-US" i="1" baseline="-25000" dirty="0"/>
                <a:t>t+1</a:t>
              </a:r>
              <a:endParaRPr lang="ru-RU" i="1" dirty="0"/>
            </a:p>
          </p:txBody>
        </p: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29E9B2DC-D19E-42CD-B3E6-61A05C6ECC0C}"/>
                </a:ext>
              </a:extLst>
            </p:cNvPr>
            <p:cNvCxnSpPr>
              <a:cxnSpLocks/>
            </p:cNvCxnSpPr>
            <p:nvPr/>
          </p:nvCxnSpPr>
          <p:spPr>
            <a:xfrm>
              <a:off x="2922140" y="2159360"/>
              <a:ext cx="1624103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Elbow 40">
              <a:extLst>
                <a:ext uri="{FF2B5EF4-FFF2-40B4-BE49-F238E27FC236}">
                  <a16:creationId xmlns:a16="http://schemas.microsoft.com/office/drawing/2014/main" id="{1E478F75-B967-4E1F-81A5-6ECA53D2421F}"/>
                </a:ext>
              </a:extLst>
            </p:cNvPr>
            <p:cNvCxnSpPr>
              <a:cxnSpLocks/>
            </p:cNvCxnSpPr>
            <p:nvPr/>
          </p:nvCxnSpPr>
          <p:spPr>
            <a:xfrm>
              <a:off x="3284113" y="2575777"/>
              <a:ext cx="126213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C1B65D8-DF62-41C5-9186-ADBAABBEC7F5}"/>
                </a:ext>
              </a:extLst>
            </p:cNvPr>
            <p:cNvCxnSpPr>
              <a:cxnSpLocks/>
            </p:cNvCxnSpPr>
            <p:nvPr/>
          </p:nvCxnSpPr>
          <p:spPr>
            <a:xfrm>
              <a:off x="3284113" y="2575777"/>
              <a:ext cx="0" cy="14338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2CF8770-73D9-4B48-A15D-39D465FD362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271413" y="4009623"/>
              <a:ext cx="620557" cy="1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73AB46E-3229-4CDC-BAF0-78D5E6D6D3B8}"/>
                </a:ext>
              </a:extLst>
            </p:cNvPr>
            <p:cNvCxnSpPr>
              <a:cxnSpLocks/>
            </p:cNvCxnSpPr>
            <p:nvPr/>
          </p:nvCxnSpPr>
          <p:spPr>
            <a:xfrm>
              <a:off x="2934166" y="2159360"/>
              <a:ext cx="0" cy="2290293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A1DE040-993D-4B43-8700-4B5754145C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22140" y="4449652"/>
              <a:ext cx="947962" cy="1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EBB14006-DE99-4814-B8E9-7A8719F9592D}"/>
                </a:ext>
              </a:extLst>
            </p:cNvPr>
            <p:cNvSpPr txBox="1"/>
            <p:nvPr/>
          </p:nvSpPr>
          <p:spPr>
            <a:xfrm>
              <a:off x="3382828" y="3082518"/>
              <a:ext cx="1607721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ru-RU" dirty="0"/>
                <a:t>Вознаграждение</a:t>
              </a:r>
            </a:p>
            <a:p>
              <a:r>
                <a:rPr lang="en-US" i="1" dirty="0"/>
                <a:t>R</a:t>
              </a:r>
              <a:r>
                <a:rPr lang="en-US" i="1" baseline="-25000" dirty="0"/>
                <a:t>t</a:t>
              </a:r>
              <a:endParaRPr lang="ru-RU" i="1" dirty="0"/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11374C1-00F5-4D91-B8FA-C240E5B313D9}"/>
                </a:ext>
              </a:extLst>
            </p:cNvPr>
            <p:cNvSpPr txBox="1"/>
            <p:nvPr/>
          </p:nvSpPr>
          <p:spPr>
            <a:xfrm>
              <a:off x="1766769" y="3082518"/>
              <a:ext cx="1088319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ru-RU" dirty="0"/>
                <a:t>Состояние</a:t>
              </a:r>
            </a:p>
            <a:p>
              <a:r>
                <a:rPr lang="en-US" i="1" dirty="0"/>
                <a:t>S</a:t>
              </a:r>
              <a:r>
                <a:rPr lang="en-US" i="1" baseline="-25000" dirty="0"/>
                <a:t>t</a:t>
              </a:r>
              <a:endParaRPr lang="ru-RU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71644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Temp\Development\McK FirmFormat\McKinsey.FirmFormat-insiders\McK FirmFormat Templates\Templates\Firm Format - template - LOP - wide - RL.po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Firm Format - template_Blu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5-06T16:20:52Z</dcterms:created>
  <dcterms:modified xsi:type="dcterms:W3CDTF">2019-05-06T16:43:13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</Properties>
</file>